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357A"/>
    <a:srgbClr val="FE5815"/>
    <a:srgbClr val="171F5D"/>
    <a:srgbClr val="0098A1"/>
    <a:srgbClr val="3B6DA3"/>
    <a:srgbClr val="002060"/>
    <a:srgbClr val="CBC7B7"/>
    <a:srgbClr val="AD007C"/>
    <a:srgbClr val="79CAE2"/>
    <a:srgbClr val="8734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aximized">
    <p:restoredLeft sz="16591" autoAdjust="0"/>
    <p:restoredTop sz="94660"/>
  </p:normalViewPr>
  <p:slideViewPr>
    <p:cSldViewPr>
      <p:cViewPr>
        <p:scale>
          <a:sx n="86" d="100"/>
          <a:sy n="86" d="100"/>
        </p:scale>
        <p:origin x="-2400" y="-582"/>
      </p:cViewPr>
      <p:guideLst>
        <p:guide orient="horz" pos="3793"/>
        <p:guide orient="horz" pos="4020"/>
        <p:guide pos="793"/>
        <p:guide pos="340"/>
        <p:guide pos="5556"/>
        <p:guide pos="4468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56" d="100"/>
          <a:sy n="56" d="100"/>
        </p:scale>
        <p:origin x="-2874" y="-84"/>
      </p:cViewPr>
      <p:guideLst>
        <p:guide orient="horz" pos="2880"/>
        <p:guide pos="2160"/>
      </p:guideLst>
    </p:cSldViewPr>
  </p:notesViewPr>
  <p:gridSpacing cx="72008" cy="72008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_presentation_fr</Template>
  <TotalTime>1</TotalTime>
  <Words>1064</Words>
  <Application>Microsoft Office PowerPoint</Application>
  <PresentationFormat>Affichage à l'écran (4:3)</PresentationFormat>
  <Paragraphs>157</Paragraphs>
  <Slides>18</Slides>
  <Notes>2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8</vt:i4>
      </vt:variant>
    </vt:vector>
  </HeadingPairs>
  <TitlesOfParts>
    <vt:vector size="20" baseType="lpstr">
      <vt:lpstr>new_presentation_fr</vt:lpstr>
      <vt:lpstr>think-cell Slide</vt:lpstr>
      <vt:lpstr>Draft PRC Export Control Law </vt:lpstr>
      <vt:lpstr>Introduction</vt:lpstr>
      <vt:lpstr>Purpose</vt:lpstr>
      <vt:lpstr>Scope of applicability 1/3</vt:lpstr>
      <vt:lpstr>Scope of applicability 2/3</vt:lpstr>
      <vt:lpstr>Scope of applicability 3/3</vt:lpstr>
      <vt:lpstr>The Competent Authorities </vt:lpstr>
      <vt:lpstr>Controlling List/Catalogue </vt:lpstr>
      <vt:lpstr>Blacklist and Embargo</vt:lpstr>
      <vt:lpstr>National Security Assessment </vt:lpstr>
      <vt:lpstr>Administration of export control 1/2</vt:lpstr>
      <vt:lpstr>Administration of export control 2/2</vt:lpstr>
      <vt:lpstr>End Use Requirements 1/2</vt:lpstr>
      <vt:lpstr>End Use Requirements 2/2</vt:lpstr>
      <vt:lpstr>Competent Authorities’ Enforcement Power</vt:lpstr>
      <vt:lpstr>Penalties</vt:lpstr>
      <vt:lpstr>Encouraging companies to be compliant with the export control regime</vt:lpstr>
      <vt:lpstr>Conclusion</vt:lpstr>
    </vt:vector>
  </TitlesOfParts>
  <Company>AREVA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emple de titre Exemple de titre</dc:title>
  <dc:creator>CONNET Emilie (CORP-NP)</dc:creator>
  <dc:description>2013/11/25</dc:description>
  <cp:lastModifiedBy>Marie-José Lecaille</cp:lastModifiedBy>
  <cp:revision>46</cp:revision>
  <cp:lastPrinted>2016-10-14T08:24:27Z</cp:lastPrinted>
  <dcterms:created xsi:type="dcterms:W3CDTF">2018-01-29T10:04:49Z</dcterms:created>
  <dcterms:modified xsi:type="dcterms:W3CDTF">2018-02-19T14:00:45Z</dcterms:modified>
  <cp:category>INFCO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j_key">
    <vt:lpwstr>INFCOM</vt:lpwstr>
  </property>
  <property fmtid="{D5CDD505-2E9C-101B-9397-08002B2CF9AE}" pid="3" name="con_confd_key">
    <vt:lpwstr>Restricted</vt:lpwstr>
  </property>
  <property fmtid="{D5CDD505-2E9C-101B-9397-08002B2CF9AE}" pid="4" name="tpl_id_nbr">
    <vt:lpwstr>EP-2141INF</vt:lpwstr>
  </property>
  <property fmtid="{D5CDD505-2E9C-101B-9397-08002B2CF9AE}" pid="5" name="tpl_issue_entity">
    <vt:lpwstr>FFP</vt:lpwstr>
  </property>
  <property fmtid="{D5CDD505-2E9C-101B-9397-08002B2CF9AE}" pid="6" name="tpl_id_rev">
    <vt:lpwstr>G</vt:lpwstr>
  </property>
  <property fmtid="{D5CDD505-2E9C-101B-9397-08002B2CF9AE}" pid="7" name="tpl_id_lang_prim">
    <vt:lpwstr>fr</vt:lpwstr>
  </property>
</Properties>
</file>